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4"/>
  </p:notesMasterIdLst>
  <p:sldIdLst>
    <p:sldId id="339" r:id="rId2"/>
    <p:sldId id="340" r:id="rId3"/>
    <p:sldId id="341" r:id="rId4"/>
    <p:sldId id="342" r:id="rId5"/>
    <p:sldId id="343" r:id="rId6"/>
    <p:sldId id="344" r:id="rId7"/>
    <p:sldId id="345" r:id="rId8"/>
    <p:sldId id="346" r:id="rId9"/>
    <p:sldId id="347" r:id="rId10"/>
    <p:sldId id="348" r:id="rId11"/>
    <p:sldId id="349" r:id="rId12"/>
    <p:sldId id="350" r:id="rId13"/>
    <p:sldId id="351" r:id="rId14"/>
    <p:sldId id="352" r:id="rId15"/>
    <p:sldId id="353" r:id="rId16"/>
    <p:sldId id="354" r:id="rId17"/>
    <p:sldId id="355" r:id="rId18"/>
    <p:sldId id="356" r:id="rId19"/>
    <p:sldId id="357" r:id="rId20"/>
    <p:sldId id="358" r:id="rId21"/>
    <p:sldId id="261" r:id="rId22"/>
    <p:sldId id="337" r:id="rId23"/>
  </p:sldIdLst>
  <p:sldSz cx="12192000" cy="6858000"/>
  <p:notesSz cx="6646863" cy="9777413"/>
  <p:custDataLst>
    <p:tags r:id="rId2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8798"/>
    <a:srgbClr val="85B7C2"/>
    <a:srgbClr val="FFFFFF"/>
    <a:srgbClr val="6D2D64"/>
    <a:srgbClr val="001C54"/>
    <a:srgbClr val="2DCDC2"/>
    <a:srgbClr val="A20000"/>
    <a:srgbClr val="A40000"/>
    <a:srgbClr val="9E0000"/>
    <a:srgbClr val="C7450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092" autoAdjust="0"/>
    <p:restoredTop sz="96631" autoAdjust="0"/>
  </p:normalViewPr>
  <p:slideViewPr>
    <p:cSldViewPr snapToGrid="0">
      <p:cViewPr>
        <p:scale>
          <a:sx n="66" d="100"/>
          <a:sy n="66" d="100"/>
        </p:scale>
        <p:origin x="-1464" y="-73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0307" cy="49056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765018" y="0"/>
            <a:ext cx="2880307" cy="49056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/11/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90525" y="1222375"/>
            <a:ext cx="5865813" cy="33004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64687" y="4705380"/>
            <a:ext cx="5317490" cy="384985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286846"/>
            <a:ext cx="2880307" cy="49056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765018" y="9286846"/>
            <a:ext cx="2880307" cy="49056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9_1">
            <a:extLst>
              <a:ext uri="{FF2B5EF4-FFF2-40B4-BE49-F238E27FC236}">
                <a16:creationId xmlns:a16="http://schemas.microsoft.com/office/drawing/2014/main" xmlns="" id="{6A953E75-CC04-4557-B911-C2DF84D93351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12191999" cy="6858000"/>
          </a:xfrm>
          <a:custGeom>
            <a:avLst/>
            <a:gdLst>
              <a:gd name="T0" fmla="*/ 3064 w 3503"/>
              <a:gd name="T1" fmla="*/ 0 h 439"/>
              <a:gd name="T2" fmla="*/ 2628 w 3503"/>
              <a:gd name="T3" fmla="*/ 0 h 439"/>
              <a:gd name="T4" fmla="*/ 2190 w 3503"/>
              <a:gd name="T5" fmla="*/ 0 h 439"/>
              <a:gd name="T6" fmla="*/ 1751 w 3503"/>
              <a:gd name="T7" fmla="*/ 0 h 439"/>
              <a:gd name="T8" fmla="*/ 1315 w 3503"/>
              <a:gd name="T9" fmla="*/ 0 h 439"/>
              <a:gd name="T10" fmla="*/ 877 w 3503"/>
              <a:gd name="T11" fmla="*/ 0 h 439"/>
              <a:gd name="T12" fmla="*/ 438 w 3503"/>
              <a:gd name="T13" fmla="*/ 0 h 439"/>
              <a:gd name="T14" fmla="*/ 0 w 3503"/>
              <a:gd name="T15" fmla="*/ 0 h 439"/>
              <a:gd name="T16" fmla="*/ 0 w 3503"/>
              <a:gd name="T17" fmla="*/ 439 h 439"/>
              <a:gd name="T18" fmla="*/ 438 w 3503"/>
              <a:gd name="T19" fmla="*/ 439 h 439"/>
              <a:gd name="T20" fmla="*/ 877 w 3503"/>
              <a:gd name="T21" fmla="*/ 439 h 439"/>
              <a:gd name="T22" fmla="*/ 1315 w 3503"/>
              <a:gd name="T23" fmla="*/ 439 h 439"/>
              <a:gd name="T24" fmla="*/ 1751 w 3503"/>
              <a:gd name="T25" fmla="*/ 439 h 439"/>
              <a:gd name="T26" fmla="*/ 2190 w 3503"/>
              <a:gd name="T27" fmla="*/ 439 h 439"/>
              <a:gd name="T28" fmla="*/ 2628 w 3503"/>
              <a:gd name="T29" fmla="*/ 439 h 439"/>
              <a:gd name="T30" fmla="*/ 3064 w 3503"/>
              <a:gd name="T31" fmla="*/ 439 h 439"/>
              <a:gd name="T32" fmla="*/ 3503 w 3503"/>
              <a:gd name="T33" fmla="*/ 439 h 439"/>
              <a:gd name="T34" fmla="*/ 3503 w 3503"/>
              <a:gd name="T35" fmla="*/ 0 h 439"/>
              <a:gd name="T36" fmla="*/ 3064 w 3503"/>
              <a:gd name="T37" fmla="*/ 0 h 4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3503" h="439">
                <a:moveTo>
                  <a:pt x="3064" y="0"/>
                </a:moveTo>
                <a:lnTo>
                  <a:pt x="2628" y="0"/>
                </a:lnTo>
                <a:lnTo>
                  <a:pt x="2190" y="0"/>
                </a:lnTo>
                <a:lnTo>
                  <a:pt x="1751" y="0"/>
                </a:lnTo>
                <a:lnTo>
                  <a:pt x="1315" y="0"/>
                </a:lnTo>
                <a:lnTo>
                  <a:pt x="877" y="0"/>
                </a:lnTo>
                <a:lnTo>
                  <a:pt x="438" y="0"/>
                </a:lnTo>
                <a:lnTo>
                  <a:pt x="0" y="0"/>
                </a:lnTo>
                <a:lnTo>
                  <a:pt x="0" y="439"/>
                </a:lnTo>
                <a:lnTo>
                  <a:pt x="438" y="439"/>
                </a:lnTo>
                <a:lnTo>
                  <a:pt x="877" y="439"/>
                </a:lnTo>
                <a:lnTo>
                  <a:pt x="1315" y="439"/>
                </a:lnTo>
                <a:lnTo>
                  <a:pt x="1751" y="439"/>
                </a:lnTo>
                <a:lnTo>
                  <a:pt x="2190" y="439"/>
                </a:lnTo>
                <a:lnTo>
                  <a:pt x="2628" y="439"/>
                </a:lnTo>
                <a:lnTo>
                  <a:pt x="3064" y="439"/>
                </a:lnTo>
                <a:lnTo>
                  <a:pt x="3503" y="439"/>
                </a:lnTo>
                <a:lnTo>
                  <a:pt x="3503" y="0"/>
                </a:lnTo>
                <a:lnTo>
                  <a:pt x="3064" y="0"/>
                </a:lnTo>
                <a:close/>
              </a:path>
            </a:pathLst>
          </a:custGeom>
          <a:blipFill>
            <a:blip r:embed="rId2"/>
            <a:srcRect/>
            <a:stretch>
              <a:fillRect t="-9259" b="-925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xmlns="" id="{E0FB1331-64BF-4006-B1BB-0D6350299C03}"/>
              </a:ext>
            </a:extLst>
          </p:cNvPr>
          <p:cNvSpPr>
            <a:spLocks/>
          </p:cNvSpPr>
          <p:nvPr userDrawn="1"/>
        </p:nvSpPr>
        <p:spPr bwMode="auto">
          <a:xfrm>
            <a:off x="7622175" y="681438"/>
            <a:ext cx="4569825" cy="616040"/>
          </a:xfrm>
          <a:custGeom>
            <a:avLst/>
            <a:gdLst>
              <a:gd name="T0" fmla="*/ 0 w 1313"/>
              <a:gd name="T1" fmla="*/ 0 h 177"/>
              <a:gd name="T2" fmla="*/ 198 w 1313"/>
              <a:gd name="T3" fmla="*/ 177 h 177"/>
              <a:gd name="T4" fmla="*/ 1313 w 1313"/>
              <a:gd name="T5" fmla="*/ 177 h 177"/>
              <a:gd name="T6" fmla="*/ 1313 w 1313"/>
              <a:gd name="T7" fmla="*/ 0 h 177"/>
              <a:gd name="T8" fmla="*/ 0 w 1313"/>
              <a:gd name="T9" fmla="*/ 0 h 1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13" h="177">
                <a:moveTo>
                  <a:pt x="0" y="0"/>
                </a:moveTo>
                <a:lnTo>
                  <a:pt x="198" y="177"/>
                </a:lnTo>
                <a:lnTo>
                  <a:pt x="1313" y="177"/>
                </a:lnTo>
                <a:lnTo>
                  <a:pt x="1313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alpha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5" name="任意多边形: 形状 14">
            <a:extLst>
              <a:ext uri="{FF2B5EF4-FFF2-40B4-BE49-F238E27FC236}">
                <a16:creationId xmlns:a16="http://schemas.microsoft.com/office/drawing/2014/main" xmlns="" id="{87D992A0-23BA-4AF0-B073-9BD1162056DE}"/>
              </a:ext>
            </a:extLst>
          </p:cNvPr>
          <p:cNvSpPr>
            <a:spLocks/>
          </p:cNvSpPr>
          <p:nvPr userDrawn="1"/>
        </p:nvSpPr>
        <p:spPr bwMode="auto">
          <a:xfrm>
            <a:off x="3005263" y="1882354"/>
            <a:ext cx="6181475" cy="3093293"/>
          </a:xfrm>
          <a:custGeom>
            <a:avLst/>
            <a:gdLst>
              <a:gd name="connsiteX0" fmla="*/ 957263 w 3838576"/>
              <a:gd name="connsiteY0" fmla="*/ 0 h 1920875"/>
              <a:gd name="connsiteX1" fmla="*/ 2876551 w 3838576"/>
              <a:gd name="connsiteY1" fmla="*/ 0 h 1920875"/>
              <a:gd name="connsiteX2" fmla="*/ 3838576 w 3838576"/>
              <a:gd name="connsiteY2" fmla="*/ 958850 h 1920875"/>
              <a:gd name="connsiteX3" fmla="*/ 2876551 w 3838576"/>
              <a:gd name="connsiteY3" fmla="*/ 1920875 h 1920875"/>
              <a:gd name="connsiteX4" fmla="*/ 1919288 w 3838576"/>
              <a:gd name="connsiteY4" fmla="*/ 958850 h 1920875"/>
              <a:gd name="connsiteX5" fmla="*/ 957263 w 3838576"/>
              <a:gd name="connsiteY5" fmla="*/ 0 h 1920875"/>
              <a:gd name="connsiteX6" fmla="*/ 1919288 w 3838576"/>
              <a:gd name="connsiteY6" fmla="*/ 958850 h 1920875"/>
              <a:gd name="connsiteX7" fmla="*/ 2876550 w 3838576"/>
              <a:gd name="connsiteY7" fmla="*/ 1920875 h 1920875"/>
              <a:gd name="connsiteX8" fmla="*/ 957263 w 3838576"/>
              <a:gd name="connsiteY8" fmla="*/ 1920875 h 1920875"/>
              <a:gd name="connsiteX9" fmla="*/ 0 w 3838576"/>
              <a:gd name="connsiteY9" fmla="*/ 958850 h 1920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838576" h="1920875">
                <a:moveTo>
                  <a:pt x="957263" y="0"/>
                </a:moveTo>
                <a:lnTo>
                  <a:pt x="2876551" y="0"/>
                </a:lnTo>
                <a:lnTo>
                  <a:pt x="3838576" y="958850"/>
                </a:lnTo>
                <a:lnTo>
                  <a:pt x="2876551" y="1920875"/>
                </a:lnTo>
                <a:lnTo>
                  <a:pt x="1919288" y="958850"/>
                </a:lnTo>
                <a:close/>
                <a:moveTo>
                  <a:pt x="957263" y="0"/>
                </a:moveTo>
                <a:lnTo>
                  <a:pt x="1919288" y="958850"/>
                </a:lnTo>
                <a:lnTo>
                  <a:pt x="2876550" y="1920875"/>
                </a:lnTo>
                <a:lnTo>
                  <a:pt x="957263" y="1920875"/>
                </a:lnTo>
                <a:lnTo>
                  <a:pt x="0" y="958850"/>
                </a:lnTo>
                <a:close/>
              </a:path>
            </a:pathLst>
          </a:custGeom>
          <a:solidFill>
            <a:schemeClr val="accent3">
              <a:alpha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xmlns="" id="{7E7C3EE7-7EEC-46C2-8C2A-DB7937D30B0A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12191999" cy="698591"/>
          </a:xfrm>
          <a:custGeom>
            <a:avLst/>
            <a:gdLst>
              <a:gd name="T0" fmla="*/ 3064 w 3503"/>
              <a:gd name="T1" fmla="*/ 0 h 439"/>
              <a:gd name="T2" fmla="*/ 2628 w 3503"/>
              <a:gd name="T3" fmla="*/ 0 h 439"/>
              <a:gd name="T4" fmla="*/ 2190 w 3503"/>
              <a:gd name="T5" fmla="*/ 0 h 439"/>
              <a:gd name="T6" fmla="*/ 1751 w 3503"/>
              <a:gd name="T7" fmla="*/ 0 h 439"/>
              <a:gd name="T8" fmla="*/ 1315 w 3503"/>
              <a:gd name="T9" fmla="*/ 0 h 439"/>
              <a:gd name="T10" fmla="*/ 877 w 3503"/>
              <a:gd name="T11" fmla="*/ 0 h 439"/>
              <a:gd name="T12" fmla="*/ 438 w 3503"/>
              <a:gd name="T13" fmla="*/ 0 h 439"/>
              <a:gd name="T14" fmla="*/ 0 w 3503"/>
              <a:gd name="T15" fmla="*/ 0 h 439"/>
              <a:gd name="T16" fmla="*/ 0 w 3503"/>
              <a:gd name="T17" fmla="*/ 439 h 439"/>
              <a:gd name="T18" fmla="*/ 438 w 3503"/>
              <a:gd name="T19" fmla="*/ 439 h 439"/>
              <a:gd name="T20" fmla="*/ 877 w 3503"/>
              <a:gd name="T21" fmla="*/ 439 h 439"/>
              <a:gd name="T22" fmla="*/ 1315 w 3503"/>
              <a:gd name="T23" fmla="*/ 439 h 439"/>
              <a:gd name="T24" fmla="*/ 1751 w 3503"/>
              <a:gd name="T25" fmla="*/ 439 h 439"/>
              <a:gd name="T26" fmla="*/ 2190 w 3503"/>
              <a:gd name="T27" fmla="*/ 439 h 439"/>
              <a:gd name="T28" fmla="*/ 2628 w 3503"/>
              <a:gd name="T29" fmla="*/ 439 h 439"/>
              <a:gd name="T30" fmla="*/ 3064 w 3503"/>
              <a:gd name="T31" fmla="*/ 439 h 439"/>
              <a:gd name="T32" fmla="*/ 3503 w 3503"/>
              <a:gd name="T33" fmla="*/ 439 h 439"/>
              <a:gd name="T34" fmla="*/ 3503 w 3503"/>
              <a:gd name="T35" fmla="*/ 0 h 439"/>
              <a:gd name="T36" fmla="*/ 3064 w 3503"/>
              <a:gd name="T37" fmla="*/ 0 h 4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3503" h="439">
                <a:moveTo>
                  <a:pt x="3064" y="0"/>
                </a:moveTo>
                <a:lnTo>
                  <a:pt x="2628" y="0"/>
                </a:lnTo>
                <a:lnTo>
                  <a:pt x="2190" y="0"/>
                </a:lnTo>
                <a:lnTo>
                  <a:pt x="1751" y="0"/>
                </a:lnTo>
                <a:lnTo>
                  <a:pt x="1315" y="0"/>
                </a:lnTo>
                <a:lnTo>
                  <a:pt x="877" y="0"/>
                </a:lnTo>
                <a:lnTo>
                  <a:pt x="438" y="0"/>
                </a:lnTo>
                <a:lnTo>
                  <a:pt x="0" y="0"/>
                </a:lnTo>
                <a:lnTo>
                  <a:pt x="0" y="439"/>
                </a:lnTo>
                <a:lnTo>
                  <a:pt x="438" y="439"/>
                </a:lnTo>
                <a:lnTo>
                  <a:pt x="877" y="439"/>
                </a:lnTo>
                <a:lnTo>
                  <a:pt x="1315" y="439"/>
                </a:lnTo>
                <a:lnTo>
                  <a:pt x="1751" y="439"/>
                </a:lnTo>
                <a:lnTo>
                  <a:pt x="2190" y="439"/>
                </a:lnTo>
                <a:lnTo>
                  <a:pt x="2628" y="439"/>
                </a:lnTo>
                <a:lnTo>
                  <a:pt x="3064" y="439"/>
                </a:lnTo>
                <a:lnTo>
                  <a:pt x="3503" y="439"/>
                </a:lnTo>
                <a:lnTo>
                  <a:pt x="3503" y="0"/>
                </a:lnTo>
                <a:lnTo>
                  <a:pt x="3064" y="0"/>
                </a:lnTo>
                <a:close/>
              </a:path>
            </a:pathLst>
          </a:custGeom>
          <a:solidFill>
            <a:schemeClr val="bg1">
              <a:alpha val="9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69925" y="4209254"/>
            <a:ext cx="10850563" cy="558799"/>
          </a:xfrm>
        </p:spPr>
        <p:txBody>
          <a:bodyPr anchor="t" anchorCtr="0">
            <a:normAutofit/>
          </a:bodyPr>
          <a:lstStyle>
            <a:lvl1pPr marL="0" indent="0" algn="ctr">
              <a:buNone/>
              <a:defRPr sz="2000">
                <a:solidFill>
                  <a:srgbClr val="001C54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69925" y="1786712"/>
            <a:ext cx="10850563" cy="2422541"/>
          </a:xfrm>
        </p:spPr>
        <p:txBody>
          <a:bodyPr anchor="b" anchorCtr="0">
            <a:normAutofit/>
          </a:bodyPr>
          <a:lstStyle>
            <a:lvl1pPr algn="ctr">
              <a:defRPr sz="4000">
                <a:solidFill>
                  <a:srgbClr val="001C54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233384"/>
            <a:ext cx="10850563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rgbClr val="001C54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5529655"/>
            <a:ext cx="10850563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rgbClr val="001C54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6" name="Freeform 6">
            <a:extLst>
              <a:ext uri="{FF2B5EF4-FFF2-40B4-BE49-F238E27FC236}">
                <a16:creationId xmlns:a16="http://schemas.microsoft.com/office/drawing/2014/main" xmlns="" id="{D6E375C2-1851-4B78-BF98-9EA55943287B}"/>
              </a:ext>
            </a:extLst>
          </p:cNvPr>
          <p:cNvSpPr>
            <a:spLocks/>
          </p:cNvSpPr>
          <p:nvPr userDrawn="1"/>
        </p:nvSpPr>
        <p:spPr bwMode="auto">
          <a:xfrm>
            <a:off x="6986588" y="3513138"/>
            <a:ext cx="2876550" cy="1920875"/>
          </a:xfrm>
          <a:custGeom>
            <a:avLst/>
            <a:gdLst>
              <a:gd name="T0" fmla="*/ 603 w 1812"/>
              <a:gd name="T1" fmla="*/ 0 h 1210"/>
              <a:gd name="T2" fmla="*/ 0 w 1812"/>
              <a:gd name="T3" fmla="*/ 604 h 1210"/>
              <a:gd name="T4" fmla="*/ 603 w 1812"/>
              <a:gd name="T5" fmla="*/ 1210 h 1210"/>
              <a:gd name="T6" fmla="*/ 1812 w 1812"/>
              <a:gd name="T7" fmla="*/ 1210 h 1210"/>
              <a:gd name="T8" fmla="*/ 1209 w 1812"/>
              <a:gd name="T9" fmla="*/ 604 h 1210"/>
              <a:gd name="T10" fmla="*/ 603 w 1812"/>
              <a:gd name="T11" fmla="*/ 0 h 1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812" h="1210">
                <a:moveTo>
                  <a:pt x="603" y="0"/>
                </a:moveTo>
                <a:lnTo>
                  <a:pt x="0" y="604"/>
                </a:lnTo>
                <a:lnTo>
                  <a:pt x="603" y="1210"/>
                </a:lnTo>
                <a:lnTo>
                  <a:pt x="1812" y="1210"/>
                </a:lnTo>
                <a:lnTo>
                  <a:pt x="1209" y="604"/>
                </a:lnTo>
                <a:lnTo>
                  <a:pt x="603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8" name="Freeform 8">
            <a:extLst>
              <a:ext uri="{FF2B5EF4-FFF2-40B4-BE49-F238E27FC236}">
                <a16:creationId xmlns:a16="http://schemas.microsoft.com/office/drawing/2014/main" xmlns="" id="{FF303FC4-D54C-4E29-BA2F-770596E4F42C}"/>
              </a:ext>
            </a:extLst>
          </p:cNvPr>
          <p:cNvSpPr>
            <a:spLocks/>
          </p:cNvSpPr>
          <p:nvPr userDrawn="1"/>
        </p:nvSpPr>
        <p:spPr bwMode="auto">
          <a:xfrm>
            <a:off x="7943851" y="3513138"/>
            <a:ext cx="2881313" cy="1920875"/>
          </a:xfrm>
          <a:custGeom>
            <a:avLst/>
            <a:gdLst>
              <a:gd name="T0" fmla="*/ 1209 w 1815"/>
              <a:gd name="T1" fmla="*/ 0 h 1210"/>
              <a:gd name="T2" fmla="*/ 0 w 1815"/>
              <a:gd name="T3" fmla="*/ 0 h 1210"/>
              <a:gd name="T4" fmla="*/ 606 w 1815"/>
              <a:gd name="T5" fmla="*/ 604 h 1210"/>
              <a:gd name="T6" fmla="*/ 1209 w 1815"/>
              <a:gd name="T7" fmla="*/ 1210 h 1210"/>
              <a:gd name="T8" fmla="*/ 1815 w 1815"/>
              <a:gd name="T9" fmla="*/ 604 h 1210"/>
              <a:gd name="T10" fmla="*/ 1209 w 1815"/>
              <a:gd name="T11" fmla="*/ 0 h 1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815" h="1210">
                <a:moveTo>
                  <a:pt x="1209" y="0"/>
                </a:moveTo>
                <a:lnTo>
                  <a:pt x="0" y="0"/>
                </a:lnTo>
                <a:lnTo>
                  <a:pt x="606" y="604"/>
                </a:lnTo>
                <a:lnTo>
                  <a:pt x="1209" y="1210"/>
                </a:lnTo>
                <a:lnTo>
                  <a:pt x="1815" y="604"/>
                </a:lnTo>
                <a:lnTo>
                  <a:pt x="1209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8" name="Freeform 9">
            <a:extLst>
              <a:ext uri="{FF2B5EF4-FFF2-40B4-BE49-F238E27FC236}">
                <a16:creationId xmlns:a16="http://schemas.microsoft.com/office/drawing/2014/main" xmlns="" id="{DBAADCC7-6AED-4E26-9BE4-35E10AC9DEC9}"/>
              </a:ext>
            </a:extLst>
          </p:cNvPr>
          <p:cNvSpPr>
            <a:spLocks/>
          </p:cNvSpPr>
          <p:nvPr userDrawn="1"/>
        </p:nvSpPr>
        <p:spPr bwMode="auto">
          <a:xfrm>
            <a:off x="0" y="6159409"/>
            <a:ext cx="12191999" cy="698591"/>
          </a:xfrm>
          <a:custGeom>
            <a:avLst/>
            <a:gdLst>
              <a:gd name="T0" fmla="*/ 3064 w 3503"/>
              <a:gd name="T1" fmla="*/ 0 h 439"/>
              <a:gd name="T2" fmla="*/ 2628 w 3503"/>
              <a:gd name="T3" fmla="*/ 0 h 439"/>
              <a:gd name="T4" fmla="*/ 2190 w 3503"/>
              <a:gd name="T5" fmla="*/ 0 h 439"/>
              <a:gd name="T6" fmla="*/ 1751 w 3503"/>
              <a:gd name="T7" fmla="*/ 0 h 439"/>
              <a:gd name="T8" fmla="*/ 1315 w 3503"/>
              <a:gd name="T9" fmla="*/ 0 h 439"/>
              <a:gd name="T10" fmla="*/ 877 w 3503"/>
              <a:gd name="T11" fmla="*/ 0 h 439"/>
              <a:gd name="T12" fmla="*/ 438 w 3503"/>
              <a:gd name="T13" fmla="*/ 0 h 439"/>
              <a:gd name="T14" fmla="*/ 0 w 3503"/>
              <a:gd name="T15" fmla="*/ 0 h 439"/>
              <a:gd name="T16" fmla="*/ 0 w 3503"/>
              <a:gd name="T17" fmla="*/ 439 h 439"/>
              <a:gd name="T18" fmla="*/ 438 w 3503"/>
              <a:gd name="T19" fmla="*/ 439 h 439"/>
              <a:gd name="T20" fmla="*/ 877 w 3503"/>
              <a:gd name="T21" fmla="*/ 439 h 439"/>
              <a:gd name="T22" fmla="*/ 1315 w 3503"/>
              <a:gd name="T23" fmla="*/ 439 h 439"/>
              <a:gd name="T24" fmla="*/ 1751 w 3503"/>
              <a:gd name="T25" fmla="*/ 439 h 439"/>
              <a:gd name="T26" fmla="*/ 2190 w 3503"/>
              <a:gd name="T27" fmla="*/ 439 h 439"/>
              <a:gd name="T28" fmla="*/ 2628 w 3503"/>
              <a:gd name="T29" fmla="*/ 439 h 439"/>
              <a:gd name="T30" fmla="*/ 3064 w 3503"/>
              <a:gd name="T31" fmla="*/ 439 h 439"/>
              <a:gd name="T32" fmla="*/ 3503 w 3503"/>
              <a:gd name="T33" fmla="*/ 439 h 439"/>
              <a:gd name="T34" fmla="*/ 3503 w 3503"/>
              <a:gd name="T35" fmla="*/ 0 h 439"/>
              <a:gd name="T36" fmla="*/ 3064 w 3503"/>
              <a:gd name="T37" fmla="*/ 0 h 4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3503" h="439">
                <a:moveTo>
                  <a:pt x="3064" y="0"/>
                </a:moveTo>
                <a:lnTo>
                  <a:pt x="2628" y="0"/>
                </a:lnTo>
                <a:lnTo>
                  <a:pt x="2190" y="0"/>
                </a:lnTo>
                <a:lnTo>
                  <a:pt x="1751" y="0"/>
                </a:lnTo>
                <a:lnTo>
                  <a:pt x="1315" y="0"/>
                </a:lnTo>
                <a:lnTo>
                  <a:pt x="877" y="0"/>
                </a:lnTo>
                <a:lnTo>
                  <a:pt x="438" y="0"/>
                </a:lnTo>
                <a:lnTo>
                  <a:pt x="0" y="0"/>
                </a:lnTo>
                <a:lnTo>
                  <a:pt x="0" y="439"/>
                </a:lnTo>
                <a:lnTo>
                  <a:pt x="438" y="439"/>
                </a:lnTo>
                <a:lnTo>
                  <a:pt x="877" y="439"/>
                </a:lnTo>
                <a:lnTo>
                  <a:pt x="1315" y="439"/>
                </a:lnTo>
                <a:lnTo>
                  <a:pt x="1751" y="439"/>
                </a:lnTo>
                <a:lnTo>
                  <a:pt x="2190" y="439"/>
                </a:lnTo>
                <a:lnTo>
                  <a:pt x="2628" y="439"/>
                </a:lnTo>
                <a:lnTo>
                  <a:pt x="3064" y="439"/>
                </a:lnTo>
                <a:lnTo>
                  <a:pt x="3503" y="439"/>
                </a:lnTo>
                <a:lnTo>
                  <a:pt x="3503" y="0"/>
                </a:lnTo>
                <a:lnTo>
                  <a:pt x="3064" y="0"/>
                </a:lnTo>
                <a:close/>
              </a:path>
            </a:pathLst>
          </a:custGeom>
          <a:solidFill>
            <a:schemeClr val="bg1">
              <a:alpha val="9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任意多边形: 形状 3">
            <a:extLst>
              <a:ext uri="{FF2B5EF4-FFF2-40B4-BE49-F238E27FC236}">
                <a16:creationId xmlns:a16="http://schemas.microsoft.com/office/drawing/2014/main" xmlns="" id="{98B939F8-E595-4E90-A61A-35A420F51972}"/>
              </a:ext>
            </a:extLst>
          </p:cNvPr>
          <p:cNvSpPr>
            <a:spLocks/>
          </p:cNvSpPr>
          <p:nvPr userDrawn="1"/>
        </p:nvSpPr>
        <p:spPr bwMode="auto">
          <a:xfrm>
            <a:off x="2366635" y="1992117"/>
            <a:ext cx="6181475" cy="3093293"/>
          </a:xfrm>
          <a:custGeom>
            <a:avLst/>
            <a:gdLst>
              <a:gd name="connsiteX0" fmla="*/ 957263 w 3838576"/>
              <a:gd name="connsiteY0" fmla="*/ 0 h 1920875"/>
              <a:gd name="connsiteX1" fmla="*/ 2876551 w 3838576"/>
              <a:gd name="connsiteY1" fmla="*/ 0 h 1920875"/>
              <a:gd name="connsiteX2" fmla="*/ 3838576 w 3838576"/>
              <a:gd name="connsiteY2" fmla="*/ 958850 h 1920875"/>
              <a:gd name="connsiteX3" fmla="*/ 2876551 w 3838576"/>
              <a:gd name="connsiteY3" fmla="*/ 1920875 h 1920875"/>
              <a:gd name="connsiteX4" fmla="*/ 1919288 w 3838576"/>
              <a:gd name="connsiteY4" fmla="*/ 958850 h 1920875"/>
              <a:gd name="connsiteX5" fmla="*/ 957263 w 3838576"/>
              <a:gd name="connsiteY5" fmla="*/ 0 h 1920875"/>
              <a:gd name="connsiteX6" fmla="*/ 1919288 w 3838576"/>
              <a:gd name="connsiteY6" fmla="*/ 958850 h 1920875"/>
              <a:gd name="connsiteX7" fmla="*/ 2876550 w 3838576"/>
              <a:gd name="connsiteY7" fmla="*/ 1920875 h 1920875"/>
              <a:gd name="connsiteX8" fmla="*/ 957263 w 3838576"/>
              <a:gd name="connsiteY8" fmla="*/ 1920875 h 1920875"/>
              <a:gd name="connsiteX9" fmla="*/ 0 w 3838576"/>
              <a:gd name="connsiteY9" fmla="*/ 958850 h 1920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838576" h="1920875">
                <a:moveTo>
                  <a:pt x="957263" y="0"/>
                </a:moveTo>
                <a:lnTo>
                  <a:pt x="2876551" y="0"/>
                </a:lnTo>
                <a:lnTo>
                  <a:pt x="3838576" y="958850"/>
                </a:lnTo>
                <a:lnTo>
                  <a:pt x="2876551" y="1920875"/>
                </a:lnTo>
                <a:lnTo>
                  <a:pt x="1919288" y="958850"/>
                </a:lnTo>
                <a:close/>
                <a:moveTo>
                  <a:pt x="957263" y="0"/>
                </a:moveTo>
                <a:lnTo>
                  <a:pt x="1919288" y="958850"/>
                </a:lnTo>
                <a:lnTo>
                  <a:pt x="2876550" y="1920875"/>
                </a:lnTo>
                <a:lnTo>
                  <a:pt x="957263" y="1920875"/>
                </a:lnTo>
                <a:lnTo>
                  <a:pt x="0" y="958850"/>
                </a:lnTo>
                <a:close/>
              </a:path>
            </a:pathLst>
          </a:custGeom>
          <a:solidFill>
            <a:schemeClr val="accent3">
              <a:alpha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096000" y="2643414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097116" y="3538764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1">
                    <a:lumMod val="75000"/>
                  </a:schemeClr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xmlns="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8E621B-E2BF-4206-A595-A87C883E8CC8}" type="datetime1">
              <a:rPr lang="zh-CN" altLang="en-US" smtClean="0"/>
              <a:t>2019/11/7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xmlns="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xmlns="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xmlns="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xmlns="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7F70E0-CB1E-48F3-BD05-0E8161375032}" type="datetime1">
              <a:rPr lang="zh-CN" altLang="en-US" smtClean="0"/>
              <a:t>2019/11/7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9_1">
            <a:extLst>
              <a:ext uri="{FF2B5EF4-FFF2-40B4-BE49-F238E27FC236}">
                <a16:creationId xmlns:a16="http://schemas.microsoft.com/office/drawing/2014/main" xmlns="" id="{CB06905B-C35E-4B8C-B92B-D173CCD0D08C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12191999" cy="6858000"/>
          </a:xfrm>
          <a:custGeom>
            <a:avLst/>
            <a:gdLst>
              <a:gd name="T0" fmla="*/ 3064 w 3503"/>
              <a:gd name="T1" fmla="*/ 0 h 439"/>
              <a:gd name="T2" fmla="*/ 2628 w 3503"/>
              <a:gd name="T3" fmla="*/ 0 h 439"/>
              <a:gd name="T4" fmla="*/ 2190 w 3503"/>
              <a:gd name="T5" fmla="*/ 0 h 439"/>
              <a:gd name="T6" fmla="*/ 1751 w 3503"/>
              <a:gd name="T7" fmla="*/ 0 h 439"/>
              <a:gd name="T8" fmla="*/ 1315 w 3503"/>
              <a:gd name="T9" fmla="*/ 0 h 439"/>
              <a:gd name="T10" fmla="*/ 877 w 3503"/>
              <a:gd name="T11" fmla="*/ 0 h 439"/>
              <a:gd name="T12" fmla="*/ 438 w 3503"/>
              <a:gd name="T13" fmla="*/ 0 h 439"/>
              <a:gd name="T14" fmla="*/ 0 w 3503"/>
              <a:gd name="T15" fmla="*/ 0 h 439"/>
              <a:gd name="T16" fmla="*/ 0 w 3503"/>
              <a:gd name="T17" fmla="*/ 439 h 439"/>
              <a:gd name="T18" fmla="*/ 438 w 3503"/>
              <a:gd name="T19" fmla="*/ 439 h 439"/>
              <a:gd name="T20" fmla="*/ 877 w 3503"/>
              <a:gd name="T21" fmla="*/ 439 h 439"/>
              <a:gd name="T22" fmla="*/ 1315 w 3503"/>
              <a:gd name="T23" fmla="*/ 439 h 439"/>
              <a:gd name="T24" fmla="*/ 1751 w 3503"/>
              <a:gd name="T25" fmla="*/ 439 h 439"/>
              <a:gd name="T26" fmla="*/ 2190 w 3503"/>
              <a:gd name="T27" fmla="*/ 439 h 439"/>
              <a:gd name="T28" fmla="*/ 2628 w 3503"/>
              <a:gd name="T29" fmla="*/ 439 h 439"/>
              <a:gd name="T30" fmla="*/ 3064 w 3503"/>
              <a:gd name="T31" fmla="*/ 439 h 439"/>
              <a:gd name="T32" fmla="*/ 3503 w 3503"/>
              <a:gd name="T33" fmla="*/ 439 h 439"/>
              <a:gd name="T34" fmla="*/ 3503 w 3503"/>
              <a:gd name="T35" fmla="*/ 0 h 439"/>
              <a:gd name="T36" fmla="*/ 3064 w 3503"/>
              <a:gd name="T37" fmla="*/ 0 h 4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3503" h="439">
                <a:moveTo>
                  <a:pt x="3064" y="0"/>
                </a:moveTo>
                <a:lnTo>
                  <a:pt x="2628" y="0"/>
                </a:lnTo>
                <a:lnTo>
                  <a:pt x="2190" y="0"/>
                </a:lnTo>
                <a:lnTo>
                  <a:pt x="1751" y="0"/>
                </a:lnTo>
                <a:lnTo>
                  <a:pt x="1315" y="0"/>
                </a:lnTo>
                <a:lnTo>
                  <a:pt x="877" y="0"/>
                </a:lnTo>
                <a:lnTo>
                  <a:pt x="438" y="0"/>
                </a:lnTo>
                <a:lnTo>
                  <a:pt x="0" y="0"/>
                </a:lnTo>
                <a:lnTo>
                  <a:pt x="0" y="439"/>
                </a:lnTo>
                <a:lnTo>
                  <a:pt x="438" y="439"/>
                </a:lnTo>
                <a:lnTo>
                  <a:pt x="877" y="439"/>
                </a:lnTo>
                <a:lnTo>
                  <a:pt x="1315" y="439"/>
                </a:lnTo>
                <a:lnTo>
                  <a:pt x="1751" y="439"/>
                </a:lnTo>
                <a:lnTo>
                  <a:pt x="2190" y="439"/>
                </a:lnTo>
                <a:lnTo>
                  <a:pt x="2628" y="439"/>
                </a:lnTo>
                <a:lnTo>
                  <a:pt x="3064" y="439"/>
                </a:lnTo>
                <a:lnTo>
                  <a:pt x="3503" y="439"/>
                </a:lnTo>
                <a:lnTo>
                  <a:pt x="3503" y="0"/>
                </a:lnTo>
                <a:lnTo>
                  <a:pt x="3064" y="0"/>
                </a:lnTo>
                <a:close/>
              </a:path>
            </a:pathLst>
          </a:custGeom>
          <a:blipFill>
            <a:blip r:embed="rId2"/>
            <a:srcRect/>
            <a:stretch>
              <a:fillRect t="-9259" b="-925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xmlns="" id="{9956EB63-8961-43DF-8678-B820F5BB6E09}"/>
              </a:ext>
            </a:extLst>
          </p:cNvPr>
          <p:cNvSpPr>
            <a:spLocks/>
          </p:cNvSpPr>
          <p:nvPr userDrawn="1"/>
        </p:nvSpPr>
        <p:spPr bwMode="auto">
          <a:xfrm>
            <a:off x="3005263" y="1882354"/>
            <a:ext cx="6181475" cy="3093293"/>
          </a:xfrm>
          <a:custGeom>
            <a:avLst/>
            <a:gdLst>
              <a:gd name="connsiteX0" fmla="*/ 957263 w 3838576"/>
              <a:gd name="connsiteY0" fmla="*/ 0 h 1920875"/>
              <a:gd name="connsiteX1" fmla="*/ 2876551 w 3838576"/>
              <a:gd name="connsiteY1" fmla="*/ 0 h 1920875"/>
              <a:gd name="connsiteX2" fmla="*/ 3838576 w 3838576"/>
              <a:gd name="connsiteY2" fmla="*/ 958850 h 1920875"/>
              <a:gd name="connsiteX3" fmla="*/ 2876551 w 3838576"/>
              <a:gd name="connsiteY3" fmla="*/ 1920875 h 1920875"/>
              <a:gd name="connsiteX4" fmla="*/ 1919288 w 3838576"/>
              <a:gd name="connsiteY4" fmla="*/ 958850 h 1920875"/>
              <a:gd name="connsiteX5" fmla="*/ 957263 w 3838576"/>
              <a:gd name="connsiteY5" fmla="*/ 0 h 1920875"/>
              <a:gd name="connsiteX6" fmla="*/ 1919288 w 3838576"/>
              <a:gd name="connsiteY6" fmla="*/ 958850 h 1920875"/>
              <a:gd name="connsiteX7" fmla="*/ 2876550 w 3838576"/>
              <a:gd name="connsiteY7" fmla="*/ 1920875 h 1920875"/>
              <a:gd name="connsiteX8" fmla="*/ 957263 w 3838576"/>
              <a:gd name="connsiteY8" fmla="*/ 1920875 h 1920875"/>
              <a:gd name="connsiteX9" fmla="*/ 0 w 3838576"/>
              <a:gd name="connsiteY9" fmla="*/ 958850 h 1920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838576" h="1920875">
                <a:moveTo>
                  <a:pt x="957263" y="0"/>
                </a:moveTo>
                <a:lnTo>
                  <a:pt x="2876551" y="0"/>
                </a:lnTo>
                <a:lnTo>
                  <a:pt x="3838576" y="958850"/>
                </a:lnTo>
                <a:lnTo>
                  <a:pt x="2876551" y="1920875"/>
                </a:lnTo>
                <a:lnTo>
                  <a:pt x="1919288" y="958850"/>
                </a:lnTo>
                <a:close/>
                <a:moveTo>
                  <a:pt x="957263" y="0"/>
                </a:moveTo>
                <a:lnTo>
                  <a:pt x="1919288" y="958850"/>
                </a:lnTo>
                <a:lnTo>
                  <a:pt x="2876550" y="1920875"/>
                </a:lnTo>
                <a:lnTo>
                  <a:pt x="957263" y="1920875"/>
                </a:lnTo>
                <a:lnTo>
                  <a:pt x="0" y="958850"/>
                </a:lnTo>
                <a:close/>
              </a:path>
            </a:pathLst>
          </a:custGeom>
          <a:solidFill>
            <a:schemeClr val="accent3">
              <a:alpha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2136548"/>
            <a:ext cx="10845798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4442784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accent1">
                    <a:lumMod val="75000"/>
                  </a:schemeClr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xmlns="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4146513"/>
            <a:ext cx="1084579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accent1">
                    <a:lumMod val="75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xmlns="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0728ADF-6C1B-4FE2-B0B9-3F7CB339AFF8}" type="datetime1">
              <a:rPr lang="zh-CN" altLang="en-US" smtClean="0"/>
              <a:t>2019/11/7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xmlns="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xmlns="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hyperlink" Target="http://www.itilxf.com/thread-139545-1-1.html" TargetMode="External"/><Relationship Id="rId3" Type="http://schemas.openxmlformats.org/officeDocument/2006/relationships/tags" Target="../tags/tag2.xml"/><Relationship Id="rId7" Type="http://schemas.openxmlformats.org/officeDocument/2006/relationships/image" Target="../media/image22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C:\Users\Acho\Desktop\《ITIL 4 服务管理认证考试指南》发布会\幻灯片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" y="-1"/>
            <a:ext cx="12192001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796220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 descr="C:\Users\Acho\Desktop\《ITIL 4 服务管理认证考试指南》发布会\幻灯片10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219200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856700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" descr="C:\Users\Acho\Desktop\《ITIL 4 服务管理认证考试指南》发布会\幻灯片1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926807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2" descr="C:\Users\Acho\Desktop\《ITIL 4 服务管理认证考试指南》发布会\幻灯片12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61"/>
            <a:ext cx="1219200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20882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2" descr="C:\Users\Acho\Desktop\《ITIL 4 服务管理认证考试指南》发布会\幻灯片13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23750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 descr="C:\Users\Acho\Desktop\《ITIL 4 服务管理认证考试指南》发布会\幻灯片14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219200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299308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Picture 2" descr="C:\Users\Acho\Desktop\《ITIL 4 服务管理认证考试指南》发布会\幻灯片15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219200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028678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2" descr="C:\Users\Acho\Desktop\《ITIL 4 服务管理认证考试指南》发布会\幻灯片16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219200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907680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 descr="C:\Users\Acho\Desktop\《ITIL 4 服务管理认证考试指南》发布会\幻灯片17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7397225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2" descr="C:\Users\Acho\Desktop\《ITIL 4 服务管理认证考试指南》发布会\幻灯片18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426275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Picture 2" descr="C:\Users\Acho\Desktop\《ITIL 4 服务管理认证考试指南》发布会\幻灯片19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219200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31882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C:\Users\Acho\Desktop\《ITIL 4 服务管理认证考试指南》发布会\幻灯片2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3946546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2" descr="C:\Users\Acho\Desktop\《ITIL 4 服务管理认证考试指南》发布会\幻灯片20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56448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xmlns="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xmlns="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xmlns="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z="4800" b="0" dirty="0">
                <a:latin typeface="Arial Black" panose="020B0A04020102020204" pitchFamily="34" charset="0"/>
              </a:rPr>
              <a:t>ITIL JUST 4 U!</a:t>
            </a:r>
            <a:endParaRPr lang="zh-CN" altLang="en-US" dirty="0"/>
          </a:p>
        </p:txBody>
      </p:sp>
      <p:sp>
        <p:nvSpPr>
          <p:cNvPr id="6" name="TextBox 5"/>
          <p:cNvSpPr txBox="1"/>
          <p:nvPr/>
        </p:nvSpPr>
        <p:spPr>
          <a:xfrm rot="2460731">
            <a:off x="5897886" y="4412713"/>
            <a:ext cx="64651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ITIL</a:t>
            </a:r>
            <a:r>
              <a:rPr lang="zh-CN" altLang="en-US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先锋论坛网络</a:t>
            </a:r>
            <a:r>
              <a:rPr lang="zh-CN" altLang="en-US" dirty="0" smtClean="0">
                <a:solidFill>
                  <a:schemeClr val="accent1">
                    <a:lumMod val="40000"/>
                    <a:lumOff val="60000"/>
                  </a:schemeClr>
                </a:solidFill>
              </a:rPr>
              <a:t>讲堂</a:t>
            </a:r>
            <a:r>
              <a:rPr lang="en-US" altLang="zh-CN" dirty="0" smtClean="0">
                <a:solidFill>
                  <a:schemeClr val="accent1">
                    <a:lumMod val="40000"/>
                    <a:lumOff val="60000"/>
                  </a:schemeClr>
                </a:solidFill>
              </a:rPr>
              <a:t>        ITIL</a:t>
            </a:r>
            <a:r>
              <a:rPr lang="zh-CN" altLang="en-US" dirty="0" smtClean="0">
                <a:solidFill>
                  <a:schemeClr val="accent1">
                    <a:lumMod val="40000"/>
                    <a:lumOff val="60000"/>
                  </a:schemeClr>
                </a:solidFill>
              </a:rPr>
              <a:t>先锋论坛网络讲堂</a:t>
            </a:r>
            <a:endParaRPr lang="zh-CN" altLang="en-US" dirty="0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97468" y="1304053"/>
            <a:ext cx="3205424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购书链接：</a:t>
            </a:r>
            <a:r>
              <a:rPr lang="en-US" altLang="zh-CN" dirty="0">
                <a:hlinkClick r:id="rId8"/>
              </a:rPr>
              <a:t>http://</a:t>
            </a:r>
            <a:r>
              <a:rPr lang="en-US" altLang="zh-CN" dirty="0" smtClean="0">
                <a:hlinkClick r:id="rId8"/>
              </a:rPr>
              <a:t>www.itilxf.com/thread-139545-1-1.html</a:t>
            </a:r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r>
              <a:rPr lang="zh-CN" altLang="en-US" dirty="0" smtClean="0"/>
              <a:t>本发布会视频回放地址：</a:t>
            </a:r>
            <a:endParaRPr lang="en-US" altLang="zh-CN" dirty="0" smtClean="0"/>
          </a:p>
          <a:p>
            <a:r>
              <a:rPr lang="en-US" altLang="zh-CN" dirty="0"/>
              <a:t>https://m.qlchat.com/topic/details?topicId=2000006630324111&amp;pro_cl=link&amp;ch_r=shareR3&amp;userSourceId=763c0de3ce08&amp;shareSourceId=ahclu7a16e404d261b&amp;from=groupmessag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1219199" y="425941"/>
            <a:ext cx="8537749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/>
              <a:t>艾拓先锋最新培训快讯</a:t>
            </a:r>
            <a:r>
              <a:rPr lang="zh-CN" altLang="en-US" sz="2800" b="1" dirty="0" smtClean="0"/>
              <a:t>：</a:t>
            </a:r>
            <a:endParaRPr lang="en-US" altLang="zh-CN" sz="2800" b="1" dirty="0" smtClean="0"/>
          </a:p>
          <a:p>
            <a:endParaRPr lang="en-US" altLang="zh-CN" dirty="0" smtClean="0"/>
          </a:p>
          <a:p>
            <a:endParaRPr lang="en-US" altLang="zh-CN" dirty="0"/>
          </a:p>
          <a:p>
            <a:r>
              <a:rPr lang="en-US" altLang="zh-CN" b="1" dirty="0" smtClean="0"/>
              <a:t>ITIL4</a:t>
            </a:r>
            <a:r>
              <a:rPr lang="zh-CN" altLang="en-US" b="1" dirty="0"/>
              <a:t>初级培训（火爆）</a:t>
            </a:r>
            <a:r>
              <a:rPr lang="zh-CN" altLang="en-US" dirty="0"/>
              <a:t>：北京</a:t>
            </a:r>
            <a:r>
              <a:rPr lang="en-US" altLang="zh-CN" dirty="0"/>
              <a:t>12</a:t>
            </a:r>
            <a:r>
              <a:rPr lang="zh-CN" altLang="en-US" dirty="0"/>
              <a:t>月</a:t>
            </a:r>
            <a:r>
              <a:rPr lang="en-US" altLang="zh-CN" dirty="0"/>
              <a:t>21~22</a:t>
            </a:r>
            <a:r>
              <a:rPr lang="zh-CN" altLang="en-US" dirty="0"/>
              <a:t>日</a:t>
            </a:r>
            <a:r>
              <a:rPr lang="en-US" altLang="zh-CN" dirty="0"/>
              <a:t>(</a:t>
            </a:r>
            <a:r>
              <a:rPr lang="zh-CN" altLang="en-US" dirty="0"/>
              <a:t>长河）上海</a:t>
            </a:r>
            <a:r>
              <a:rPr lang="en-US" altLang="zh-CN" dirty="0"/>
              <a:t>10</a:t>
            </a:r>
            <a:r>
              <a:rPr lang="zh-CN" altLang="en-US" dirty="0"/>
              <a:t>月</a:t>
            </a:r>
            <a:r>
              <a:rPr lang="en-US" altLang="zh-CN" dirty="0"/>
              <a:t>26~27</a:t>
            </a:r>
            <a:r>
              <a:rPr lang="zh-CN" altLang="en-US" dirty="0"/>
              <a:t>日（刘颋）广州</a:t>
            </a:r>
            <a:r>
              <a:rPr lang="en-US" altLang="zh-CN" dirty="0"/>
              <a:t>11</a:t>
            </a:r>
            <a:r>
              <a:rPr lang="zh-CN" altLang="en-US" dirty="0"/>
              <a:t>月</a:t>
            </a:r>
            <a:r>
              <a:rPr lang="en-US" altLang="zh-CN" dirty="0"/>
              <a:t>9~10</a:t>
            </a:r>
            <a:r>
              <a:rPr lang="zh-CN" altLang="en-US" dirty="0"/>
              <a:t>日          武汉</a:t>
            </a:r>
            <a:r>
              <a:rPr lang="en-US" altLang="zh-CN" dirty="0"/>
              <a:t>11</a:t>
            </a:r>
            <a:r>
              <a:rPr lang="zh-CN" altLang="en-US" dirty="0"/>
              <a:t>月</a:t>
            </a:r>
            <a:r>
              <a:rPr lang="en-US" altLang="zh-CN" dirty="0"/>
              <a:t>30~12</a:t>
            </a:r>
            <a:r>
              <a:rPr lang="zh-CN" altLang="en-US" dirty="0"/>
              <a:t>月</a:t>
            </a:r>
            <a:r>
              <a:rPr lang="en-US" altLang="zh-CN" dirty="0"/>
              <a:t>1</a:t>
            </a:r>
            <a:r>
              <a:rPr lang="zh-CN" altLang="en-US" dirty="0" smtClean="0"/>
              <a:t>日</a:t>
            </a:r>
            <a:endParaRPr lang="en-US" altLang="zh-CN" dirty="0" smtClean="0"/>
          </a:p>
          <a:p>
            <a:endParaRPr lang="en-US" altLang="zh-CN" dirty="0"/>
          </a:p>
          <a:p>
            <a:r>
              <a:rPr lang="en-US" altLang="zh-CN" b="1" dirty="0" err="1" smtClean="0"/>
              <a:t>Devops</a:t>
            </a:r>
            <a:r>
              <a:rPr lang="en-US" altLang="zh-CN" b="1" dirty="0" smtClean="0"/>
              <a:t> </a:t>
            </a:r>
            <a:r>
              <a:rPr lang="en-US" altLang="zh-CN" b="1" dirty="0"/>
              <a:t>Professional </a:t>
            </a:r>
            <a:r>
              <a:rPr lang="zh-CN" altLang="en-US" b="1" dirty="0"/>
              <a:t>（品牌</a:t>
            </a:r>
            <a:r>
              <a:rPr lang="zh-CN" altLang="en-US" b="1" dirty="0" smtClean="0"/>
              <a:t>）</a:t>
            </a:r>
            <a:r>
              <a:rPr lang="zh-CN" altLang="en-US" dirty="0" smtClean="0"/>
              <a:t>：成都</a:t>
            </a:r>
            <a:r>
              <a:rPr lang="en-US" altLang="zh-CN" dirty="0"/>
              <a:t>11</a:t>
            </a:r>
            <a:r>
              <a:rPr lang="zh-CN" altLang="en-US" dirty="0"/>
              <a:t>月</a:t>
            </a:r>
            <a:r>
              <a:rPr lang="en-US" altLang="zh-CN" dirty="0"/>
              <a:t>23</a:t>
            </a:r>
            <a:r>
              <a:rPr lang="zh-CN" altLang="en-US" dirty="0"/>
              <a:t>日</a:t>
            </a:r>
            <a:r>
              <a:rPr lang="en-US" altLang="zh-CN" dirty="0"/>
              <a:t>~24</a:t>
            </a:r>
            <a:r>
              <a:rPr lang="zh-CN" altLang="en-US" dirty="0"/>
              <a:t>日  广州</a:t>
            </a:r>
            <a:r>
              <a:rPr lang="en-US" altLang="zh-CN" dirty="0"/>
              <a:t>12</a:t>
            </a:r>
            <a:r>
              <a:rPr lang="zh-CN" altLang="en-US" dirty="0"/>
              <a:t>月</a:t>
            </a:r>
            <a:r>
              <a:rPr lang="en-US" altLang="zh-CN" dirty="0"/>
              <a:t>4~5</a:t>
            </a:r>
            <a:r>
              <a:rPr lang="zh-CN" altLang="en-US" dirty="0" smtClean="0"/>
              <a:t>日</a:t>
            </a:r>
            <a:endParaRPr lang="en-US" altLang="zh-CN" dirty="0" smtClean="0"/>
          </a:p>
          <a:p>
            <a:endParaRPr lang="en-US" altLang="zh-CN" dirty="0"/>
          </a:p>
          <a:p>
            <a:r>
              <a:rPr lang="en-US" altLang="zh-CN" b="1" dirty="0" smtClean="0"/>
              <a:t>ITIL </a:t>
            </a:r>
            <a:r>
              <a:rPr lang="en-US" altLang="zh-CN" b="1" dirty="0"/>
              <a:t>4 </a:t>
            </a:r>
            <a:r>
              <a:rPr lang="zh-CN" altLang="en-US" b="1" dirty="0" smtClean="0"/>
              <a:t>管理专家过渡课程</a:t>
            </a:r>
            <a:r>
              <a:rPr lang="zh-CN" altLang="en-US" b="1" dirty="0"/>
              <a:t>（最新</a:t>
            </a:r>
            <a:r>
              <a:rPr lang="zh-CN" altLang="en-US" b="1" dirty="0" smtClean="0"/>
              <a:t>）</a:t>
            </a:r>
            <a:r>
              <a:rPr lang="zh-CN" altLang="en-US" dirty="0" smtClean="0"/>
              <a:t>：广州</a:t>
            </a:r>
            <a:r>
              <a:rPr lang="en-US" altLang="zh-CN" dirty="0"/>
              <a:t>11</a:t>
            </a:r>
            <a:r>
              <a:rPr lang="zh-CN" altLang="en-US" dirty="0"/>
              <a:t>月</a:t>
            </a:r>
            <a:r>
              <a:rPr lang="en-US" altLang="zh-CN" dirty="0"/>
              <a:t>23~24</a:t>
            </a:r>
            <a:r>
              <a:rPr lang="zh-CN" altLang="en-US" dirty="0" smtClean="0"/>
              <a:t>日  北京</a:t>
            </a:r>
            <a:r>
              <a:rPr lang="en-US" altLang="zh-CN" dirty="0"/>
              <a:t>11</a:t>
            </a:r>
            <a:r>
              <a:rPr lang="zh-CN" altLang="en-US" dirty="0"/>
              <a:t>月</a:t>
            </a:r>
            <a:r>
              <a:rPr lang="en-US" altLang="zh-CN" dirty="0"/>
              <a:t>23~24</a:t>
            </a:r>
            <a:r>
              <a:rPr lang="zh-CN" altLang="en-US" dirty="0" smtClean="0"/>
              <a:t>日</a:t>
            </a:r>
            <a:endParaRPr lang="en-US" altLang="zh-CN" dirty="0" smtClean="0"/>
          </a:p>
          <a:p>
            <a:endParaRPr lang="en-US" altLang="zh-CN" dirty="0"/>
          </a:p>
          <a:p>
            <a:r>
              <a:rPr lang="en-US" altLang="zh-CN" b="1" dirty="0" smtClean="0"/>
              <a:t>ITSS</a:t>
            </a:r>
            <a:r>
              <a:rPr lang="zh-CN" altLang="en-US" b="1" dirty="0"/>
              <a:t>项目经理（热门</a:t>
            </a:r>
            <a:r>
              <a:rPr lang="zh-CN" altLang="en-US" b="1" dirty="0" smtClean="0"/>
              <a:t>）</a:t>
            </a:r>
            <a:r>
              <a:rPr lang="zh-CN" altLang="en-US" dirty="0" smtClean="0"/>
              <a:t>：广州</a:t>
            </a:r>
            <a:r>
              <a:rPr lang="en-US" altLang="zh-CN" dirty="0"/>
              <a:t>11</a:t>
            </a:r>
            <a:r>
              <a:rPr lang="zh-CN" altLang="en-US" dirty="0"/>
              <a:t>月</a:t>
            </a:r>
            <a:r>
              <a:rPr lang="en-US" altLang="zh-CN" dirty="0"/>
              <a:t>6~11</a:t>
            </a:r>
            <a:r>
              <a:rPr lang="zh-CN" altLang="en-US" dirty="0"/>
              <a:t>月</a:t>
            </a:r>
            <a:r>
              <a:rPr lang="en-US" altLang="zh-CN" dirty="0"/>
              <a:t>8</a:t>
            </a:r>
            <a:r>
              <a:rPr lang="zh-CN" altLang="en-US" dirty="0"/>
              <a:t>日 （熊健淞</a:t>
            </a:r>
            <a:r>
              <a:rPr lang="zh-CN" altLang="en-US" dirty="0" smtClean="0"/>
              <a:t>）</a:t>
            </a:r>
            <a:endParaRPr lang="en-US" altLang="zh-CN" dirty="0" smtClean="0"/>
          </a:p>
          <a:p>
            <a:endParaRPr lang="en-US" altLang="zh-CN" dirty="0"/>
          </a:p>
          <a:p>
            <a:r>
              <a:rPr lang="zh-CN" altLang="en-US" dirty="0" smtClean="0"/>
              <a:t>培训</a:t>
            </a:r>
            <a:r>
              <a:rPr lang="zh-CN" altLang="en-US" dirty="0"/>
              <a:t>联系：</a:t>
            </a:r>
            <a:r>
              <a:rPr lang="en-US" altLang="zh-CN" dirty="0"/>
              <a:t>Karen</a:t>
            </a:r>
            <a:r>
              <a:rPr lang="zh-CN" altLang="en-US" dirty="0"/>
              <a:t>老师 微信：</a:t>
            </a:r>
            <a:r>
              <a:rPr lang="en-US" altLang="zh-CN" dirty="0"/>
              <a:t>18027379316 QQ:80049496 </a:t>
            </a:r>
            <a:r>
              <a:rPr lang="zh-CN" altLang="en-US" dirty="0"/>
              <a:t>电话：</a:t>
            </a:r>
            <a:r>
              <a:rPr lang="en-US" altLang="zh-CN" dirty="0" smtClean="0"/>
              <a:t>4008-060-230</a:t>
            </a:r>
          </a:p>
          <a:p>
            <a:endParaRPr lang="en-US" altLang="zh-CN" dirty="0"/>
          </a:p>
          <a:p>
            <a:endParaRPr lang="zh-CN" alt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1665" y="4812009"/>
            <a:ext cx="1695450" cy="169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174406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C:\Users\Acho\Desktop\《ITIL 4 服务管理认证考试指南》发布会\幻灯片3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219200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166724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C:\Users\Acho\Desktop\《ITIL 4 服务管理认证考试指南》发布会\幻灯片4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59958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C:\Users\Acho\Desktop\《ITIL 4 服务管理认证考试指南》发布会\幻灯片5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621047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C:\Users\Acho\Desktop\《ITIL 4 服务管理认证考试指南》发布会\幻灯片6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97753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 descr="C:\Users\Acho\Desktop\《ITIL 4 服务管理认证考试指南》发布会\幻灯片7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561767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2" descr="C:\Users\Acho\Desktop\《ITIL 4 服务管理认证考试指南》发布会\幻灯片8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854214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 descr="C:\Users\Acho\Desktop\《ITIL 4 服务管理认证考试指南》发布会\幻灯片9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5017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508404f7-801c-488e-84c1-0cd0477456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122C60"/>
      </a:accent1>
      <a:accent2>
        <a:srgbClr val="15889F"/>
      </a:accent2>
      <a:accent3>
        <a:srgbClr val="12C2B9"/>
      </a:accent3>
      <a:accent4>
        <a:srgbClr val="454C56"/>
      </a:accent4>
      <a:accent5>
        <a:srgbClr val="6A7687"/>
      </a:accent5>
      <a:accent6>
        <a:srgbClr val="76839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22C60"/>
    </a:accent1>
    <a:accent2>
      <a:srgbClr val="15889F"/>
    </a:accent2>
    <a:accent3>
      <a:srgbClr val="12C2B9"/>
    </a:accent3>
    <a:accent4>
      <a:srgbClr val="454C56"/>
    </a:accent4>
    <a:accent5>
      <a:srgbClr val="6A7687"/>
    </a:accent5>
    <a:accent6>
      <a:srgbClr val="76839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226</TotalTime>
  <Words>142</Words>
  <Application>Microsoft Office PowerPoint</Application>
  <PresentationFormat>自定义</PresentationFormat>
  <Paragraphs>19</Paragraphs>
  <Slides>22</Slides>
  <Notes>0</Notes>
  <HiddenSlides>0</HiddenSlides>
  <MMClips>0</MMClips>
  <ScaleCrop>false</ScaleCrop>
  <HeadingPairs>
    <vt:vector size="6" baseType="variant"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2</vt:i4>
      </vt:variant>
    </vt:vector>
  </HeadingPairs>
  <TitlesOfParts>
    <vt:vector size="24" baseType="lpstr">
      <vt:lpstr>主题5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ITIL JUST 4 U!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Acho</cp:lastModifiedBy>
  <cp:revision>46</cp:revision>
  <cp:lastPrinted>2019-11-07T14:13:01Z</cp:lastPrinted>
  <dcterms:created xsi:type="dcterms:W3CDTF">2019-04-18T16:00:00Z</dcterms:created>
  <dcterms:modified xsi:type="dcterms:W3CDTF">2019-11-07T14:25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